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84" r:id="rId3"/>
    <p:sldId id="263" r:id="rId4"/>
    <p:sldId id="274" r:id="rId5"/>
    <p:sldId id="276" r:id="rId6"/>
    <p:sldId id="269" r:id="rId7"/>
    <p:sldId id="268" r:id="rId8"/>
    <p:sldId id="279" r:id="rId9"/>
    <p:sldId id="275" r:id="rId10"/>
    <p:sldId id="277" r:id="rId11"/>
    <p:sldId id="278" r:id="rId12"/>
    <p:sldId id="259" r:id="rId13"/>
    <p:sldId id="280" r:id="rId14"/>
    <p:sldId id="281" r:id="rId15"/>
    <p:sldId id="282" r:id="rId16"/>
    <p:sldId id="283" r:id="rId17"/>
    <p:sldId id="258" r:id="rId18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8" autoAdjust="0"/>
    <p:restoredTop sz="94660"/>
  </p:normalViewPr>
  <p:slideViewPr>
    <p:cSldViewPr snapToGrid="0">
      <p:cViewPr>
        <p:scale>
          <a:sx n="90" d="100"/>
          <a:sy n="90" d="100"/>
        </p:scale>
        <p:origin x="1104" y="5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57641-C06B-9732-7798-42F8368F54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7A4498-86AA-FF38-FD7E-F51068CF6F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31657-9D96-09F3-4AC5-EC0C6FD15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9F4DD-CBA4-F85C-E814-28AEB0DDF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77B8E-26A0-E71F-642C-22D615F7B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8061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E6D05-94F1-1A7D-C7A5-3D88183B5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CDA36D-9DC9-D007-2679-8F5D41D9BE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176DBA-A214-7405-1E43-1143C105C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6732B-7BA3-66E7-3D9A-4739F24B3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11F4F5-A2E5-AA3E-71B4-5971466DA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907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D943F-4BA5-91B0-F39F-7E74961135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2C98D3-D939-4C8C-5B7E-76F6202015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0C3C2-65EE-767B-3A37-3267BEBF0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276138-8116-77A5-7BFB-CE664F903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9769C2-53BC-1453-8837-D477E6DE8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025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C6C3C-C88A-84B3-C195-42610D709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07DD6-E3B5-F1CC-B342-511BFC9D5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D0DF28-0A3C-9E57-DA8A-27F628F31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5F3BAB-75C1-AFA5-5BAC-F605C56F3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3FF53E-3160-0798-AA90-6B2BB0676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790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1BCDC-1103-288E-C0F2-8F79EF150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572658-EB8C-3658-300E-E597E2767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63DDB-948A-F22D-93D2-E01534CA2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00D32-8D53-5D0D-8FF6-A4F7BE882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AFDB32-38CC-9397-A504-DA82139EB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5021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8C46-3FE7-D670-0C69-C2B51275E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2091E-45AE-8355-2E6B-57ADCC67D0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8464F5-D7B0-C4B8-B00D-BF01951045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EB66B2-9A65-44D3-1D10-DD6AAD7E0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1E1147-20DA-195B-D541-7DF8028A6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8D20EC-608A-3A5B-06B2-63EBA9D24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863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1DA42-7B8F-4466-0536-7F4C26677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D77CA-5EC9-8A15-8707-E4AE861BE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202CB5-C28F-9B16-A8AB-F0A7E0EA81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EEE23D-5D74-38D6-4986-BAB7FCC02C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52FBA8-F922-212A-AADF-82FBF4680D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C8C553-8843-19B5-0173-987F318BD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69FB8A-2E2F-5CE7-233E-56CED2640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198171-45F8-937F-DAFF-705108D0F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5611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19E9E-AA38-6C85-F762-1DA00ACDC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22240D-9EB9-9CA4-82D1-2BD8A71AD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104254-ABAC-4D28-3D64-7466F0CB8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E6474-CD8A-62B8-884B-E24F9C1F6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80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88C459-9600-F108-D807-47094BCBA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C48332-0BBB-87D9-70CD-B9D0F23C4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E71B7C-4594-37FF-C8D4-56ECD5BD8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875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5A748-C81B-B8E6-2F09-5B53375B5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4A858-7B94-A1C8-160C-F18F0F6829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FD7DB-52F5-B13A-6899-484FA28487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0FFEE7-D66E-91DB-E9A2-88BBFECB06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9CE366-833F-50CF-52A9-D2BFB492D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963380-8672-140B-998C-ABDFE175B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944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C3F0F-D2FF-B41E-7142-CD5275544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3A6972-47F0-C4B9-EDC4-B6523DFF6E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CA7404-1163-D476-511B-802B0164AC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C08973-C9A1-584D-B999-E47251E81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EE317E-54CB-9841-1712-3DF7D902D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C1E88-2F4F-39AE-40C5-1DB8B19B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797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294219-0047-5838-CDB9-31D44904C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9738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3FAD07-D12C-5699-BF70-7F6C6FC7D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D54D9A-C8DB-C481-697D-5389F2D85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04FF5-D108-6B4C-CCA1-CADD721157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FD772-04A1-4041-BA6F-64F7ADB660F9}" type="datetimeFigureOut">
              <a:rPr lang="en-GB" smtClean="0"/>
              <a:t>25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72D5FC-E768-BE00-4C9F-CABEE5100F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E98DC3-C067-A3C8-17C7-EFE79BC85D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139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6BD9FC-95FE-ADC7-0950-47D940E58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444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8DB9CD9-59B1-4D73-BC4C-98796A48E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4A6A9-41FF-4E33-AFA8-F9F81436A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21D730E-1F97-4071-B143-B05E6D2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985"/>
            <a:chExt cx="9772765" cy="6858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849C6A-9EE5-4604-8EAE-DD4796B79D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985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8677BE-069B-4A4D-8732-E26B6EF567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985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9A575B-DD07-4388-963B-0AF3FDDCF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985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55285E4-21EB-4EC1-AB8E-36E881E89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985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A0C77B5-3FAA-4D4F-9555-89D7516088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985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F0C96D1-A8B7-4C8E-9997-D823FD159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985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46556D-445B-4CD0-87A0-02A30BD1B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985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ECA3693-16C2-A2AF-AAD3-B653FD7D2F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023" y="1628775"/>
            <a:ext cx="11006654" cy="1800225"/>
          </a:xfrm>
        </p:spPr>
        <p:txBody>
          <a:bodyPr vert="horz">
            <a:noAutofit/>
          </a:bodyPr>
          <a:lstStyle/>
          <a:p>
            <a:pPr algn="l"/>
            <a:r>
              <a:rPr lang="en-US" sz="6600" dirty="0">
                <a:solidFill>
                  <a:schemeClr val="tx2"/>
                </a:solidFill>
              </a:rPr>
              <a:t>Regression Analysis - Phase 2 Project</a:t>
            </a:r>
            <a:endParaRPr lang="en-GB" sz="6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0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>
            <a:normAutofit/>
          </a:bodyPr>
          <a:lstStyle/>
          <a:p>
            <a:r>
              <a:rPr lang="en-US" dirty="0"/>
              <a:t>Regression plots</a:t>
            </a:r>
            <a:endParaRPr lang="en-GB" dirty="0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1047751" y="5715000"/>
            <a:ext cx="9991724" cy="914400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Y and Fitted vs. X graph plots show a positive relationship showing the price and square feet of living area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Residuals versus </a:t>
            </a:r>
            <a:r>
              <a:rPr lang="en-GB" sz="1200" dirty="0" err="1">
                <a:solidFill>
                  <a:schemeClr val="tx1"/>
                </a:solidFill>
              </a:rPr>
              <a:t>sqft_living</a:t>
            </a:r>
            <a:r>
              <a:rPr lang="en-GB" sz="1200" dirty="0">
                <a:solidFill>
                  <a:schemeClr val="tx1"/>
                </a:solidFill>
              </a:rPr>
              <a:t> graph shows the model errors versus the predictor variable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Partial regression plot shows the relationship between price and square feet of living.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DCE1D736-3453-3526-1A1C-7331ACDC20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351" y="1082180"/>
            <a:ext cx="6829424" cy="4223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118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67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>
            <a:normAutofit/>
          </a:bodyPr>
          <a:lstStyle/>
          <a:p>
            <a:r>
              <a:rPr lang="en-US" dirty="0"/>
              <a:t>Normality plots</a:t>
            </a:r>
            <a:endParaRPr lang="en-GB" dirty="0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1047751" y="5980171"/>
            <a:ext cx="6597058" cy="451884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From the normality plot above, we can conclude that the data is not normally distributed</a:t>
            </a:r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F2DC2B8C-772D-BB08-360F-55D17BF38E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499" y="1157668"/>
            <a:ext cx="7193748" cy="458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596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A07712-0E3C-02A4-934A-9ED6D6044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22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59EF30C2-29AC-4A0D-BC0A-A679CF113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00500" y="1087403"/>
            <a:ext cx="8191500" cy="5770597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2F040C-E830-6A8A-2A4B-1EF3F812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3520" y="2744662"/>
            <a:ext cx="6589707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ultiple </a:t>
            </a:r>
            <a:r>
              <a:rPr lang="en-US" dirty="0">
                <a:solidFill>
                  <a:srgbClr val="FFFFFF"/>
                </a:solidFill>
              </a:rPr>
              <a:t>Reg</a:t>
            </a: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ssion Analysi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6A0658-1CC4-4B0D-AAB7-A702286AF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241" y="183933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04F1504-431A-4D86-9091-AE7E4B333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2348" y="1"/>
            <a:ext cx="2279742" cy="1267785"/>
          </a:xfrm>
          <a:custGeom>
            <a:avLst/>
            <a:gdLst>
              <a:gd name="connsiteX0" fmla="*/ 0 w 2279742"/>
              <a:gd name="connsiteY0" fmla="*/ 0 h 1267785"/>
              <a:gd name="connsiteX1" fmla="*/ 138700 w 2279742"/>
              <a:gd name="connsiteY1" fmla="*/ 0 h 1267785"/>
              <a:gd name="connsiteX2" fmla="*/ 138700 w 2279742"/>
              <a:gd name="connsiteY2" fmla="*/ 1078193 h 1267785"/>
              <a:gd name="connsiteX3" fmla="*/ 2002733 w 2279742"/>
              <a:gd name="connsiteY3" fmla="*/ 0 h 1267785"/>
              <a:gd name="connsiteX4" fmla="*/ 2279742 w 2279742"/>
              <a:gd name="connsiteY4" fmla="*/ 0 h 1267785"/>
              <a:gd name="connsiteX5" fmla="*/ 104026 w 2279742"/>
              <a:gd name="connsiteY5" fmla="*/ 1258503 h 1267785"/>
              <a:gd name="connsiteX6" fmla="*/ 69351 w 2279742"/>
              <a:gd name="connsiteY6" fmla="*/ 1267785 h 1267785"/>
              <a:gd name="connsiteX7" fmla="*/ 0 w 2279742"/>
              <a:gd name="connsiteY7" fmla="*/ 1198436 h 1267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9742" h="1267785">
                <a:moveTo>
                  <a:pt x="0" y="0"/>
                </a:moveTo>
                <a:lnTo>
                  <a:pt x="138700" y="0"/>
                </a:lnTo>
                <a:lnTo>
                  <a:pt x="138700" y="1078193"/>
                </a:lnTo>
                <a:lnTo>
                  <a:pt x="2002733" y="0"/>
                </a:lnTo>
                <a:lnTo>
                  <a:pt x="2279742" y="0"/>
                </a:lnTo>
                <a:lnTo>
                  <a:pt x="104026" y="1258503"/>
                </a:lnTo>
                <a:cubicBezTo>
                  <a:pt x="93484" y="1264595"/>
                  <a:pt x="81523" y="1267796"/>
                  <a:pt x="69351" y="1267785"/>
                </a:cubicBezTo>
                <a:cubicBezTo>
                  <a:pt x="31049" y="1267785"/>
                  <a:pt x="0" y="1236737"/>
                  <a:pt x="0" y="119843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804283-B929-4503-802F-4585376E2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3811F5-514E-49A4-B382-673ED228A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9044" y="514898"/>
            <a:ext cx="2393351" cy="232842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067AD921-1CEE-4C1B-9AA3-C66D908DDD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2949740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C36A08F5-3B56-47C5-A371-9187BE56E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539683" y="4203427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046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377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/>
          <a:lstStyle/>
          <a:p>
            <a:r>
              <a:rPr lang="en-US" dirty="0"/>
              <a:t>Regression Analysis Output: 3 predictors only</a:t>
            </a:r>
            <a:endParaRPr lang="en-GB" dirty="0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7251405" y="1316667"/>
            <a:ext cx="4827180" cy="1086291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has an R-squared value of 53.0% variation of the data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</a:t>
            </a:r>
            <a:r>
              <a:rPr lang="en-GB" sz="1200" dirty="0" err="1">
                <a:solidFill>
                  <a:schemeClr val="tx1"/>
                </a:solidFill>
              </a:rPr>
              <a:t>p_values</a:t>
            </a:r>
            <a:r>
              <a:rPr lang="en-GB" sz="1200" dirty="0">
                <a:solidFill>
                  <a:schemeClr val="tx1"/>
                </a:solidFill>
              </a:rPr>
              <a:t> is less than 0.001 meaning that there is a correlation between the predictors and outcome variable used in the mode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CD5FBA-A587-F9CE-792A-861E376F7B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260" y="1082179"/>
            <a:ext cx="6709145" cy="541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228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90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/>
          <a:lstStyle/>
          <a:p>
            <a:r>
              <a:rPr lang="en-US" dirty="0"/>
              <a:t>Regression Analysis Output: 4 predictors only</a:t>
            </a:r>
            <a:endParaRPr lang="en-GB" dirty="0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7219507" y="1316667"/>
            <a:ext cx="4859078" cy="157538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has an improved R-squared value of 55.1% variation of the data from the previous 53.0%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</a:t>
            </a:r>
            <a:r>
              <a:rPr lang="en-GB" sz="1200" dirty="0" err="1">
                <a:solidFill>
                  <a:schemeClr val="tx1"/>
                </a:solidFill>
              </a:rPr>
              <a:t>p_values</a:t>
            </a:r>
            <a:r>
              <a:rPr lang="en-GB" sz="1200" dirty="0">
                <a:solidFill>
                  <a:schemeClr val="tx1"/>
                </a:solidFill>
              </a:rPr>
              <a:t> is less than 0.001 meaning that there is a correlation between the predictors and outcome variable used in the model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 Increasing or adding more variables has significant value to the model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4D6341-A58B-6083-B8B1-2704A47617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8899" y="1158949"/>
            <a:ext cx="5989853" cy="553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8225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508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51288" cy="717055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Regression Analysis Output: All predictors variables</a:t>
            </a:r>
            <a:endParaRPr lang="en-GB" dirty="0"/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7219507" y="1316667"/>
            <a:ext cx="4859078" cy="1915631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has a more improved R-squared value of 56.9% variation of the data from the previous 55.1%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pvalues are less than 0.001 meaning that there is a correlation between the predictors and outcome variable used in the model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 Increasing or adding more variables has significant value to the model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Looking at the individual pvalues of the predictors, we have few predictors where pvalues are greater than alpha 0.05 meaning they do not have an impact on the outcome variabl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C1D8D4-EDD0-5806-5D90-C1E4246D3E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512" y="1082180"/>
            <a:ext cx="6042837" cy="560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331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A07712-0E3C-02A4-934A-9ED6D6044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3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A07712-0E3C-02A4-934A-9ED6D6044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59EF30C2-29AC-4A0D-BC0A-A679CF113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00500" y="1087403"/>
            <a:ext cx="8191500" cy="5770597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2F040C-E830-6A8A-2A4B-1EF3F812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3520" y="2744662"/>
            <a:ext cx="6589707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ts val="6720"/>
              </a:lnSpc>
              <a:spcBef>
                <a:spcPct val="0"/>
              </a:spcBef>
            </a:pPr>
            <a:r>
              <a:rPr lang="en-US" sz="6000" dirty="0">
                <a:solidFill>
                  <a:srgbClr val="FFFFFF"/>
                </a:solidFill>
                <a:latin typeface="Anonymous Pro Bold"/>
              </a:rPr>
              <a:t>Conclusions</a:t>
            </a:r>
            <a:endParaRPr lang="en-US" sz="6000" dirty="0">
              <a:solidFill>
                <a:srgbClr val="FFFFFF"/>
              </a:solidFill>
              <a:latin typeface="Anonymous Pro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6A0658-1CC4-4B0D-AAB7-A702286AF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241" y="183933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04F1504-431A-4D86-9091-AE7E4B333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2348" y="1"/>
            <a:ext cx="2279742" cy="1267785"/>
          </a:xfrm>
          <a:custGeom>
            <a:avLst/>
            <a:gdLst>
              <a:gd name="connsiteX0" fmla="*/ 0 w 2279742"/>
              <a:gd name="connsiteY0" fmla="*/ 0 h 1267785"/>
              <a:gd name="connsiteX1" fmla="*/ 138700 w 2279742"/>
              <a:gd name="connsiteY1" fmla="*/ 0 h 1267785"/>
              <a:gd name="connsiteX2" fmla="*/ 138700 w 2279742"/>
              <a:gd name="connsiteY2" fmla="*/ 1078193 h 1267785"/>
              <a:gd name="connsiteX3" fmla="*/ 2002733 w 2279742"/>
              <a:gd name="connsiteY3" fmla="*/ 0 h 1267785"/>
              <a:gd name="connsiteX4" fmla="*/ 2279742 w 2279742"/>
              <a:gd name="connsiteY4" fmla="*/ 0 h 1267785"/>
              <a:gd name="connsiteX5" fmla="*/ 104026 w 2279742"/>
              <a:gd name="connsiteY5" fmla="*/ 1258503 h 1267785"/>
              <a:gd name="connsiteX6" fmla="*/ 69351 w 2279742"/>
              <a:gd name="connsiteY6" fmla="*/ 1267785 h 1267785"/>
              <a:gd name="connsiteX7" fmla="*/ 0 w 2279742"/>
              <a:gd name="connsiteY7" fmla="*/ 1198436 h 1267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9742" h="1267785">
                <a:moveTo>
                  <a:pt x="0" y="0"/>
                </a:moveTo>
                <a:lnTo>
                  <a:pt x="138700" y="0"/>
                </a:lnTo>
                <a:lnTo>
                  <a:pt x="138700" y="1078193"/>
                </a:lnTo>
                <a:lnTo>
                  <a:pt x="2002733" y="0"/>
                </a:lnTo>
                <a:lnTo>
                  <a:pt x="2279742" y="0"/>
                </a:lnTo>
                <a:lnTo>
                  <a:pt x="104026" y="1258503"/>
                </a:lnTo>
                <a:cubicBezTo>
                  <a:pt x="93484" y="1264595"/>
                  <a:pt x="81523" y="1267796"/>
                  <a:pt x="69351" y="1267785"/>
                </a:cubicBezTo>
                <a:cubicBezTo>
                  <a:pt x="31049" y="1267785"/>
                  <a:pt x="0" y="1236737"/>
                  <a:pt x="0" y="119843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804283-B929-4503-802F-4585376E2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3811F5-514E-49A4-B382-673ED228A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9044" y="514898"/>
            <a:ext cx="2393351" cy="232842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067AD921-1CEE-4C1B-9AA3-C66D908DDD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2949740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C36A08F5-3B56-47C5-A371-9187BE56E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539683" y="4203427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579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72AB3B-F544-CA82-EF2E-302E41152E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0592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4C159F-DD32-F307-105A-FED39D2BD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666"/>
          </a:xfrm>
        </p:spPr>
        <p:txBody>
          <a:bodyPr vert="horz"/>
          <a:lstStyle/>
          <a:p>
            <a:r>
              <a:rPr lang="en-US" dirty="0"/>
              <a:t>Conclusion</a:t>
            </a:r>
            <a:endParaRPr lang="en-GB" dirty="0"/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575AB140-9F4B-5912-0EDB-3154CBC0E4D3}"/>
              </a:ext>
            </a:extLst>
          </p:cNvPr>
          <p:cNvSpPr/>
          <p:nvPr/>
        </p:nvSpPr>
        <p:spPr>
          <a:xfrm>
            <a:off x="838201" y="1437906"/>
            <a:ext cx="6849140" cy="1107947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From the analysis, it was noted that square feet of living have a strong positive correlation with the house pricing</a:t>
            </a:r>
          </a:p>
        </p:txBody>
      </p:sp>
    </p:spTree>
    <p:extLst>
      <p:ext uri="{BB962C8B-B14F-4D97-AF65-F5344CB8AC3E}">
        <p14:creationId xmlns:p14="http://schemas.microsoft.com/office/powerpoint/2010/main" val="3969540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6BD9FC-95FE-ADC7-0950-47D940E58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053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6BD9FC-95FE-ADC7-0950-47D940E58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8DB9CD9-59B1-4D73-BC4C-98796A48E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4A6A9-41FF-4E33-AFA8-F9F81436A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21D730E-1F97-4071-B143-B05E6D2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985"/>
            <a:chExt cx="9772765" cy="6858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849C6A-9EE5-4604-8EAE-DD4796B79D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985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8677BE-069B-4A4D-8732-E26B6EF567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985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9A575B-DD07-4388-963B-0AF3FDDCF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985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55285E4-21EB-4EC1-AB8E-36E881E89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985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A0C77B5-3FAA-4D4F-9555-89D7516088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985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F0C96D1-A8B7-4C8E-9997-D823FD159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985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46556D-445B-4CD0-87A0-02A30BD1B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985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7334DDB3-030B-C7CA-3E0A-0EE259D70C32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b="1" dirty="0"/>
              <a:t>Content</a:t>
            </a:r>
          </a:p>
        </p:txBody>
      </p:sp>
      <p:sp>
        <p:nvSpPr>
          <p:cNvPr id="32" name="TextBox 4">
            <a:extLst>
              <a:ext uri="{FF2B5EF4-FFF2-40B4-BE49-F238E27FC236}">
                <a16:creationId xmlns:a16="http://schemas.microsoft.com/office/drawing/2014/main" id="{4632D7A6-5BAE-50C8-C8F9-A79871C5D047}"/>
              </a:ext>
            </a:extLst>
          </p:cNvPr>
          <p:cNvSpPr txBox="1"/>
          <p:nvPr/>
        </p:nvSpPr>
        <p:spPr>
          <a:xfrm>
            <a:off x="506803" y="1505780"/>
            <a:ext cx="11240697" cy="38849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143338" lvl="1" indent="-742950">
              <a:lnSpc>
                <a:spcPts val="6156"/>
              </a:lnSpc>
              <a:buFont typeface="Wingdings" panose="05000000000000000000" pitchFamily="2" charset="2"/>
              <a:buChar char="q"/>
            </a:pPr>
            <a:r>
              <a:rPr lang="en-US" sz="3709" dirty="0">
                <a:latin typeface="Anonymous Pro"/>
              </a:rPr>
              <a:t>Business Problem</a:t>
            </a:r>
          </a:p>
          <a:p>
            <a:pPr marL="1143338" lvl="1" indent="-742950">
              <a:lnSpc>
                <a:spcPts val="6156"/>
              </a:lnSpc>
              <a:buFont typeface="Wingdings" panose="05000000000000000000" pitchFamily="2" charset="2"/>
              <a:buChar char="q"/>
            </a:pPr>
            <a:r>
              <a:rPr lang="en-US" sz="3709" dirty="0">
                <a:latin typeface="Anonymous Pro"/>
              </a:rPr>
              <a:t>Data Understanding</a:t>
            </a:r>
          </a:p>
          <a:p>
            <a:pPr marL="1143338" lvl="1" indent="-742950">
              <a:lnSpc>
                <a:spcPts val="6156"/>
              </a:lnSpc>
              <a:buFont typeface="Wingdings" panose="05000000000000000000" pitchFamily="2" charset="2"/>
              <a:buChar char="q"/>
            </a:pPr>
            <a:r>
              <a:rPr lang="en-US" sz="3709" dirty="0">
                <a:latin typeface="Anonymous Pro"/>
              </a:rPr>
              <a:t>Data Preparation</a:t>
            </a:r>
          </a:p>
          <a:p>
            <a:pPr marL="1143338" lvl="1" indent="-742950">
              <a:lnSpc>
                <a:spcPts val="6156"/>
              </a:lnSpc>
              <a:buFont typeface="Wingdings" panose="05000000000000000000" pitchFamily="2" charset="2"/>
              <a:buChar char="q"/>
            </a:pPr>
            <a:r>
              <a:rPr lang="en-US" sz="3709" dirty="0">
                <a:latin typeface="Anonymous Pro"/>
              </a:rPr>
              <a:t>Regression Analysis</a:t>
            </a:r>
          </a:p>
          <a:p>
            <a:pPr marL="1143338" lvl="1" indent="-742950">
              <a:lnSpc>
                <a:spcPts val="6156"/>
              </a:lnSpc>
              <a:buFont typeface="Wingdings" panose="05000000000000000000" pitchFamily="2" charset="2"/>
              <a:buChar char="q"/>
            </a:pPr>
            <a:r>
              <a:rPr lang="en-US" sz="3709" dirty="0">
                <a:latin typeface="Anonymous Pro"/>
              </a:rPr>
              <a:t> Conclusions</a:t>
            </a:r>
          </a:p>
        </p:txBody>
      </p:sp>
    </p:spTree>
    <p:extLst>
      <p:ext uri="{BB962C8B-B14F-4D97-AF65-F5344CB8AC3E}">
        <p14:creationId xmlns:p14="http://schemas.microsoft.com/office/powerpoint/2010/main" val="2363410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326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/>
          <a:lstStyle/>
          <a:p>
            <a:r>
              <a:rPr lang="en-US" dirty="0"/>
              <a:t>Business problem</a:t>
            </a:r>
            <a:endParaRPr lang="en-GB" dirty="0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700CA71-801E-EDCA-0227-F6AECCE6AAFD}"/>
              </a:ext>
            </a:extLst>
          </p:cNvPr>
          <p:cNvSpPr/>
          <p:nvPr/>
        </p:nvSpPr>
        <p:spPr>
          <a:xfrm>
            <a:off x="483080" y="1219201"/>
            <a:ext cx="10870720" cy="3619500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Real estate is considered real property that includes land and anything permanently attached to it or built on it, whether natural or man-made. These include residential, commercial, industrial, raw land, and special use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GB" sz="2000" dirty="0">
              <a:solidFill>
                <a:schemeClr val="tx1"/>
              </a:solidFill>
            </a:endParaRP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Investing in real estate includes purchasing a home, rental property, or land. Indirect investment in real estate can be made via Real Estate Investment Trusts or through pooled real estate investment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GB" sz="2000" dirty="0">
              <a:solidFill>
                <a:schemeClr val="tx1"/>
              </a:solidFill>
            </a:endParaRP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A real estate agency helps homeowners buy and/or sell homes. The stakeholder is in the need to provide advice to homeowners about how home renovations might increase the estimated value of their homes, and by what amoun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423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387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/>
          <a:lstStyle/>
          <a:p>
            <a:r>
              <a:rPr lang="en-US" dirty="0"/>
              <a:t>Data preparation</a:t>
            </a:r>
            <a:endParaRPr lang="en-GB" dirty="0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700CA71-801E-EDCA-0227-F6AECCE6AAFD}"/>
              </a:ext>
            </a:extLst>
          </p:cNvPr>
          <p:cNvSpPr/>
          <p:nvPr/>
        </p:nvSpPr>
        <p:spPr>
          <a:xfrm>
            <a:off x="483080" y="1219201"/>
            <a:ext cx="10870720" cy="3619500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000" dirty="0">
                <a:solidFill>
                  <a:schemeClr val="tx1"/>
                </a:solidFill>
              </a:rPr>
              <a:t>The steps taken to prepare the data for analysis and modelling were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2000" dirty="0">
              <a:solidFill>
                <a:schemeClr val="tx1"/>
              </a:solidFill>
            </a:endParaRP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Dropping the columns that are redundant and not required for the analysis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Duplicate identification and drop them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Checking for invalid entries and imputing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Checking for and imputing null values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Categorical variables conversion to individual columns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Scaling of the continuous variables.</a:t>
            </a:r>
          </a:p>
          <a:p>
            <a:pPr marL="1143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2000" dirty="0">
                <a:solidFill>
                  <a:schemeClr val="tx1"/>
                </a:solidFill>
              </a:rPr>
              <a:t>Dealing with multicollinearity.</a:t>
            </a:r>
          </a:p>
        </p:txBody>
      </p:sp>
    </p:spTree>
    <p:extLst>
      <p:ext uri="{BB962C8B-B14F-4D97-AF65-F5344CB8AC3E}">
        <p14:creationId xmlns:p14="http://schemas.microsoft.com/office/powerpoint/2010/main" val="1577456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6BD9FC-95FE-ADC7-0950-47D940E58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04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6BD9FC-95FE-ADC7-0950-47D940E58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8DB9CD9-59B1-4D73-BC4C-98796A48E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4A6A9-41FF-4E33-AFA8-F9F81436A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21D730E-1F97-4071-B143-B05E6D2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985"/>
            <a:chExt cx="9772765" cy="6858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849C6A-9EE5-4604-8EAE-DD4796B79D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985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8677BE-069B-4A4D-8732-E26B6EF567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985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9A575B-DD07-4388-963B-0AF3FDDCF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985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55285E4-21EB-4EC1-AB8E-36E881E89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985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A0C77B5-3FAA-4D4F-9555-89D7516088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985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F0C96D1-A8B7-4C8E-9997-D823FD159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985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46556D-445B-4CD0-87A0-02A30BD1B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985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ECA3693-16C2-A2AF-AAD3-B653FD7D2F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023" y="1628775"/>
            <a:ext cx="11006654" cy="1800225"/>
          </a:xfrm>
        </p:spPr>
        <p:txBody>
          <a:bodyPr vert="horz">
            <a:noAutofit/>
          </a:bodyPr>
          <a:lstStyle/>
          <a:p>
            <a:pPr algn="l"/>
            <a:r>
              <a:rPr lang="en-US" sz="6600" dirty="0">
                <a:solidFill>
                  <a:schemeClr val="tx2"/>
                </a:solidFill>
              </a:rPr>
              <a:t>Regression Analysis</a:t>
            </a:r>
            <a:endParaRPr lang="en-GB" sz="6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60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654CC1-9E17-94EB-925E-97DBB8CF4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89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A5ED5C-45EF-B50D-239B-2ECDCF765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54025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Correlation matrix</a:t>
            </a:r>
          </a:p>
        </p:txBody>
      </p:sp>
      <p:pic>
        <p:nvPicPr>
          <p:cNvPr id="6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FD7E6EC5-B086-F63B-B048-6F4BECEC4A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009650"/>
            <a:ext cx="11811000" cy="548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6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316489-D4EE-EAAA-0CC4-B054ACB0F7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02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Content Placeholder 7" descr="Chart, scatter chart&#10;&#10;Description automatically generated">
            <a:extLst>
              <a:ext uri="{FF2B5EF4-FFF2-40B4-BE49-F238E27FC236}">
                <a16:creationId xmlns:a16="http://schemas.microsoft.com/office/drawing/2014/main" id="{03DDDCFC-4F69-2010-10A2-693BE271A3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79" y="1266826"/>
            <a:ext cx="8898196" cy="4019550"/>
          </a:xfr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5FF577D5-87DF-798E-3840-229FCDB83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5" y="273545"/>
            <a:ext cx="9782175" cy="717055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Scatterplot of the best predictor with the price</a:t>
            </a:r>
            <a:endParaRPr lang="en-GB" dirty="0"/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956EEA9D-CE57-06DC-55B2-2AFF049124D8}"/>
              </a:ext>
            </a:extLst>
          </p:cNvPr>
          <p:cNvSpPr/>
          <p:nvPr/>
        </p:nvSpPr>
        <p:spPr>
          <a:xfrm>
            <a:off x="504825" y="5822455"/>
            <a:ext cx="7924800" cy="762000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000" dirty="0">
                <a:solidFill>
                  <a:schemeClr val="tx1"/>
                </a:solidFill>
              </a:rPr>
              <a:t>There is a positive linear relationship between the square feet of living (footage of the home) with pricing.  An increase in one causes a unit increase in the other.</a:t>
            </a:r>
          </a:p>
        </p:txBody>
      </p:sp>
    </p:spTree>
    <p:extLst>
      <p:ext uri="{BB962C8B-B14F-4D97-AF65-F5344CB8AC3E}">
        <p14:creationId xmlns:p14="http://schemas.microsoft.com/office/powerpoint/2010/main" val="3114639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A07712-0E3C-02A4-934A-9ED6D6044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A07712-0E3C-02A4-934A-9ED6D60447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59EF30C2-29AC-4A0D-BC0A-A679CF113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00500" y="1087403"/>
            <a:ext cx="8191500" cy="5770597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2F040C-E830-6A8A-2A4B-1EF3F812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3520" y="2744662"/>
            <a:ext cx="6589707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imple Linear </a:t>
            </a:r>
            <a:r>
              <a:rPr lang="en-US" dirty="0">
                <a:solidFill>
                  <a:srgbClr val="FFFFFF"/>
                </a:solidFill>
              </a:rPr>
              <a:t>Reg</a:t>
            </a: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ssion Analysi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6A0658-1CC4-4B0D-AAB7-A702286AF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241" y="183933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04F1504-431A-4D86-9091-AE7E4B333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2348" y="1"/>
            <a:ext cx="2279742" cy="1267785"/>
          </a:xfrm>
          <a:custGeom>
            <a:avLst/>
            <a:gdLst>
              <a:gd name="connsiteX0" fmla="*/ 0 w 2279742"/>
              <a:gd name="connsiteY0" fmla="*/ 0 h 1267785"/>
              <a:gd name="connsiteX1" fmla="*/ 138700 w 2279742"/>
              <a:gd name="connsiteY1" fmla="*/ 0 h 1267785"/>
              <a:gd name="connsiteX2" fmla="*/ 138700 w 2279742"/>
              <a:gd name="connsiteY2" fmla="*/ 1078193 h 1267785"/>
              <a:gd name="connsiteX3" fmla="*/ 2002733 w 2279742"/>
              <a:gd name="connsiteY3" fmla="*/ 0 h 1267785"/>
              <a:gd name="connsiteX4" fmla="*/ 2279742 w 2279742"/>
              <a:gd name="connsiteY4" fmla="*/ 0 h 1267785"/>
              <a:gd name="connsiteX5" fmla="*/ 104026 w 2279742"/>
              <a:gd name="connsiteY5" fmla="*/ 1258503 h 1267785"/>
              <a:gd name="connsiteX6" fmla="*/ 69351 w 2279742"/>
              <a:gd name="connsiteY6" fmla="*/ 1267785 h 1267785"/>
              <a:gd name="connsiteX7" fmla="*/ 0 w 2279742"/>
              <a:gd name="connsiteY7" fmla="*/ 1198436 h 1267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9742" h="1267785">
                <a:moveTo>
                  <a:pt x="0" y="0"/>
                </a:moveTo>
                <a:lnTo>
                  <a:pt x="138700" y="0"/>
                </a:lnTo>
                <a:lnTo>
                  <a:pt x="138700" y="1078193"/>
                </a:lnTo>
                <a:lnTo>
                  <a:pt x="2002733" y="0"/>
                </a:lnTo>
                <a:lnTo>
                  <a:pt x="2279742" y="0"/>
                </a:lnTo>
                <a:lnTo>
                  <a:pt x="104026" y="1258503"/>
                </a:lnTo>
                <a:cubicBezTo>
                  <a:pt x="93484" y="1264595"/>
                  <a:pt x="81523" y="1267796"/>
                  <a:pt x="69351" y="1267785"/>
                </a:cubicBezTo>
                <a:cubicBezTo>
                  <a:pt x="31049" y="1267785"/>
                  <a:pt x="0" y="1236737"/>
                  <a:pt x="0" y="119843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804283-B929-4503-802F-4585376E2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3811F5-514E-49A4-B382-673ED228A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9044" y="514898"/>
            <a:ext cx="2393351" cy="232842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067AD921-1CEE-4C1B-9AA3-C66D908DDD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2949740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C36A08F5-3B56-47C5-A371-9187BE56E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539683" y="4203427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711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257BA-E99C-8090-3A3B-AA343EF3B6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257BA-E99C-8090-3A3B-AA343EF3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 vert="horz"/>
          <a:lstStyle/>
          <a:p>
            <a:r>
              <a:rPr lang="en-US" dirty="0"/>
              <a:t>Regression Analysis Output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27CBFF-2368-43EA-A833-476C5ABB38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525" y="1015237"/>
            <a:ext cx="6371782" cy="5195064"/>
          </a:xfrm>
          <a:prstGeom prst="rect">
            <a:avLst/>
          </a:prstGeom>
        </p:spPr>
      </p:pic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C6562409-D665-9D1B-7370-29FA6953812F}"/>
              </a:ext>
            </a:extLst>
          </p:cNvPr>
          <p:cNvSpPr/>
          <p:nvPr/>
        </p:nvSpPr>
        <p:spPr>
          <a:xfrm>
            <a:off x="6877050" y="1372555"/>
            <a:ext cx="4924425" cy="123950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is able to explain 49.3% variation of the data.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intercept is approximately 257900.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1"/>
                </a:solidFill>
              </a:rPr>
              <a:t>The model </a:t>
            </a:r>
            <a:r>
              <a:rPr lang="en-GB" sz="1200" dirty="0" err="1">
                <a:solidFill>
                  <a:schemeClr val="tx1"/>
                </a:solidFill>
              </a:rPr>
              <a:t>p_values</a:t>
            </a:r>
            <a:r>
              <a:rPr lang="en-GB" sz="1200" dirty="0">
                <a:solidFill>
                  <a:schemeClr val="tx1"/>
                </a:solidFill>
              </a:rPr>
              <a:t> is less than 0.001 meaning that there is a correlation between the dependent and independent variables used in the model (price and footage of the home)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48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</TotalTime>
  <Words>612</Words>
  <Application>Microsoft Office PowerPoint</Application>
  <PresentationFormat>Widescreen</PresentationFormat>
  <Paragraphs>54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nonymous Pro</vt:lpstr>
      <vt:lpstr>Anonymous Pro Bold</vt:lpstr>
      <vt:lpstr>Arial</vt:lpstr>
      <vt:lpstr>Calibri</vt:lpstr>
      <vt:lpstr>Calibri Light</vt:lpstr>
      <vt:lpstr>Wingdings</vt:lpstr>
      <vt:lpstr>Office Theme</vt:lpstr>
      <vt:lpstr>think-cell Slide</vt:lpstr>
      <vt:lpstr>Regression Analysis - Phase 2 Project</vt:lpstr>
      <vt:lpstr>PowerPoint Presentation</vt:lpstr>
      <vt:lpstr>Business problem</vt:lpstr>
      <vt:lpstr>Data preparation</vt:lpstr>
      <vt:lpstr>Regression Analysis</vt:lpstr>
      <vt:lpstr>Correlation matrix</vt:lpstr>
      <vt:lpstr>Scatterplot of the best predictor with the price</vt:lpstr>
      <vt:lpstr>Simple Linear Regression Analysis</vt:lpstr>
      <vt:lpstr>Regression Analysis Output</vt:lpstr>
      <vt:lpstr>Regression plots</vt:lpstr>
      <vt:lpstr>Normality plots</vt:lpstr>
      <vt:lpstr>Multiple Regression Analysis</vt:lpstr>
      <vt:lpstr>Regression Analysis Output: 3 predictors only</vt:lpstr>
      <vt:lpstr>Regression Analysis Output: 4 predictors only</vt:lpstr>
      <vt:lpstr>Regression Analysis Output: All predictors variables</vt:lpstr>
      <vt:lpstr>Conclusions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ase 1 Project assignment</dc:title>
  <dc:creator>Ambasu, Stanley</dc:creator>
  <cp:lastModifiedBy>Pascal Andera Okuda</cp:lastModifiedBy>
  <cp:revision>8</cp:revision>
  <dcterms:created xsi:type="dcterms:W3CDTF">2023-02-05T11:45:33Z</dcterms:created>
  <dcterms:modified xsi:type="dcterms:W3CDTF">2023-03-25T10:49:20Z</dcterms:modified>
</cp:coreProperties>
</file>